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89" d="100"/>
          <a:sy n="89" d="100"/>
        </p:scale>
        <p:origin x="466" y="-8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6/04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6/04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xmlns="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xmlns="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475877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xmlns="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xmlns="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xmlns="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xmlns="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xmlns="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xmlns="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xmlns="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xmlns="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hapalalakshmi5/" TargetMode="External"/><Relationship Id="rId7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png"/><Relationship Id="rId5" Type="http://schemas.openxmlformats.org/officeDocument/2006/relationships/hyperlink" Target="https://github.com/chapalalakshmi5/Deals-and-coupons-casestudy-Video.git" TargetMode="Externa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xmlns="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720344"/>
          </a:xfrm>
        </p:spPr>
        <p:txBody>
          <a:bodyPr>
            <a:noAutofit/>
          </a:bodyPr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Deals and Coupons Finder App Web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Completed end to end case study of Deals and Coupons Finder App along with JWT authentication, Swagger and payment testing using Spring Boot and </a:t>
            </a:r>
            <a:r>
              <a:rPr lang="en-IN" alt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Angular</a:t>
            </a:r>
            <a:r>
              <a:rPr lang="en-IN" alt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alt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Angular Material </a:t>
            </a:r>
            <a:r>
              <a:rPr lang="en-US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and Bootstrap used for user interface.</a:t>
            </a:r>
            <a:endParaRPr lang="en-US" alt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Backend (MongoDB), Midware (Spring Boot) and Frontend (Angular)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ed and recompiled all concepts of the backend, midware and frontend to polish my skills to work on real –time projects. </a:t>
            </a: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r>
              <a:rPr lang="en-IN" altLang="en-US" dirty="0" err="1" smtClean="0"/>
              <a:t>Github</a:t>
            </a:r>
            <a:r>
              <a:rPr lang="en-IN" altLang="en-US" dirty="0" smtClean="0"/>
              <a:t> video Link</a:t>
            </a:r>
            <a:r>
              <a:rPr lang="en-IN" altLang="en-US" dirty="0"/>
              <a:t>: https://github.com/MohnishBhonde/Assignments/tree/main/Deals%20And%20Coupons%20Finder%20App%20video%20and%20resume</a:t>
            </a: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endParaRPr lang="en-IN" altLang="en-US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r>
              <a:rPr lang="en-US" altLang="nl-NL" dirty="0"/>
              <a:t/>
            </a:r>
            <a:br>
              <a:rPr lang="en-US" altLang="nl-NL" dirty="0"/>
            </a:br>
            <a:r>
              <a:rPr lang="en-US" altLang="nl-NL" dirty="0"/>
              <a:t/>
            </a: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xmlns="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Intern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xmlns="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225652"/>
            <a:ext cx="2374900" cy="295275"/>
          </a:xfrm>
        </p:spPr>
        <p:txBody>
          <a:bodyPr/>
          <a:lstStyle/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xmlns="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6956" y="1605434"/>
            <a:ext cx="2606551" cy="269876"/>
          </a:xfrm>
        </p:spPr>
        <p:txBody>
          <a:bodyPr/>
          <a:lstStyle/>
          <a:p>
            <a:pPr eaLnBrk="1" hangingPunct="1"/>
            <a:r>
              <a:rPr lang="nl-NL" altLang="nl-NL" dirty="0" smtClean="0"/>
              <a:t>mohnish2351999@gmail.com</a:t>
            </a:r>
            <a:endParaRPr lang="nl-NL" altLang="nl-NL" dirty="0"/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xmlns="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5222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</a:t>
            </a:r>
            <a:r>
              <a:rPr lang="nl-NL" altLang="nl-NL" dirty="0" smtClean="0"/>
              <a:t>8668338072</a:t>
            </a:r>
            <a:endParaRPr lang="nl-NL" altLang="nl-NL" dirty="0"/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xmlns="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353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ady to learn new technologies and implement them to further improve my knowledge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s working knowledge on </a:t>
            </a:r>
            <a:r>
              <a:rPr lang="en-US" alt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ngular </a:t>
            </a:r>
            <a:r>
              <a:rPr lang="en-US" alt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Java Microservice Development using Spring framework on an intermediate level.</a:t>
            </a:r>
            <a:r>
              <a:rPr lang="en-US" altLang="nl-NL" sz="105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nl-NL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nl-NL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xmlns="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of Engineering in  </a:t>
            </a:r>
            <a:r>
              <a:rPr lang="en-US" altLang="nl-NL" sz="1020" dirty="0" smtClean="0">
                <a:latin typeface="Arial" panose="020B0604020202020204" pitchFamily="34" charset="0"/>
                <a:cs typeface="Arial" panose="020B0604020202020204" pitchFamily="34" charset="0"/>
              </a:rPr>
              <a:t>Mechanical Engineering</a:t>
            </a:r>
            <a:r>
              <a:rPr lang="en-US" altLang="nl-NL" sz="102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: 2018 - 2022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 11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Boot,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</a:t>
            </a:r>
            <a:r>
              <a:rPr lang="en-US" altLang="en-US" sz="1020" dirty="0" smtClean="0">
                <a:latin typeface="Arial" panose="020B0604020202020204" pitchFamily="34" charset="0"/>
                <a:cs typeface="Arial" panose="020B0604020202020204" pitchFamily="34" charset="0"/>
              </a:rPr>
              <a:t>Security</a:t>
            </a:r>
            <a:endParaRPr lang="en-US" altLang="en-US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2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Angula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ype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eam </a:t>
            </a:r>
            <a:r>
              <a:rPr lang="en-US" altLang="nl-NL" sz="1020" dirty="0" smtClean="0"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 smtClean="0">
                <a:latin typeface="Arial" panose="020B0604020202020204" pitchFamily="34" charset="0"/>
                <a:cs typeface="Arial" panose="020B0604020202020204" pitchFamily="34" charset="0"/>
              </a:rPr>
              <a:t>Leading Skill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xmlns="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ohnish</a:t>
            </a:r>
            <a:r>
              <a:rPr lang="en-IN" alt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alt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honde</a:t>
            </a:r>
            <a:endParaRPr lang="en-IN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xmlns="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035329" y="6279621"/>
            <a:ext cx="437805" cy="43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xmlns="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705" y="6279621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xmlns="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5" y="1969294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 smtClean="0">
                <a:solidFill>
                  <a:schemeClr val="bg1"/>
                </a:solidFill>
              </a:rPr>
              <a:t>A4</a:t>
            </a:r>
            <a:endParaRPr lang="nl-NL" altLang="nl-NL" sz="1100" dirty="0">
              <a:solidFill>
                <a:schemeClr val="bg1"/>
              </a:solidFill>
            </a:endParaRP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46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15" b="6915"/>
          <a:stretch>
            <a:fillRect/>
          </a:stretch>
        </p:blipFill>
        <p:spPr>
          <a:xfrm>
            <a:off x="335360" y="265555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2006/documentManagement/types"/>
    <ds:schemaRef ds:uri="fd33c62d-2c11-46e7-88a2-e90fa986d9d0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47da6acf-edf2-43bc-9595-f721a214a14e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217</TotalTime>
  <Words>192</Words>
  <Application>Microsoft Office PowerPoint</Application>
  <PresentationFormat>Widescreen</PresentationFormat>
  <Paragraphs>5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LENOVO</cp:lastModifiedBy>
  <cp:revision>112</cp:revision>
  <dcterms:created xsi:type="dcterms:W3CDTF">2017-12-08T05:27:40Z</dcterms:created>
  <dcterms:modified xsi:type="dcterms:W3CDTF">2022-04-26T18:1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